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523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BF7B745-F187-716B-669C-D03C894F15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8C36B0C-5F6D-DF62-E3C9-44549767B0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0B6DD5A-2A05-F252-4EE8-DE63B5078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EC39E8-5CAC-9799-3888-E70D5D588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4899F7F-A00A-5613-ACD4-750AB3BDB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4260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2AEB708-2931-6D71-E715-BE1897C0D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2501334-918D-AFED-D1C5-DBE4A6A087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1961D26-5577-A9FF-5581-D247F6B6E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C487134-B50C-5942-CE2A-2F400372C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F7EBDA-DC92-3ECB-EFEB-6C430197D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91052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0D8F378-297A-F10E-2FA3-56B29B954AE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B71C713-1E04-528D-A103-2641153884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7533BC5-E54A-E147-9B67-02E5EDB57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87D6C08-838F-8080-27A4-6AF0FEA8E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791BB3F-BE9F-4975-9246-70AAD25B4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66740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7315E76-5F45-47F5-9F65-318AAE95F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0DD849B-8741-2CB6-D741-060740DBCE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7F24BC-A66F-CA72-2FF9-EFC6D43E5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1D2AE83-0C15-923D-D101-51FAD9A1F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84862AF-D8C6-4047-0162-19AA846FD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3181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2FB1ACE-6538-7F77-A404-4F6AF6643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606F893-C7EE-AFED-72E3-119471702F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1010AD0-14FB-DAA8-E110-EAD8A9B1A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EF6859-6C6D-C58A-A4C2-4063F1C62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F99451D-0356-5FBD-48F1-D4F1A854D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2358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54A81BD-32B8-5DD4-0CE0-152F32D5A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A72A240-2241-B409-4514-8A8702D851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F0D73961-8EE0-7030-B089-681A30AF53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9A16C07-86B5-1225-3F8E-BEE19CF67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322577F-E608-2C4C-6097-2218A7EC7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B5DFF45-EDCB-CB37-9B2E-30CEF91BB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6173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D262C9-0758-0CED-3481-0BBDC25F4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38AA3E2-E85D-F00E-5938-64FF6EC94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52291AA-D187-99B6-ED81-054C11BBDD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1492153-78AC-C217-4BB0-E35265D383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05D8546A-88B4-94EC-7B94-2313A0EA91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72C65372-5739-317C-5558-5170B5C70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0A71768D-90B9-D622-5823-D564FEF34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995A8C7-248B-02DE-8DDF-353BF6A41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0543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1A2FE0A-1100-C0DB-3684-5370BE31D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E087512-D523-3E08-CA8E-F59A4E60D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1D3F5BD-E0A0-6D61-2615-C9E5CBA04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60AA187-0C2B-21EC-A41F-8D0086954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5874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1A38BAB0-93CB-55F9-1196-4B8AA1442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CDAC1B9-FA1C-225C-6CDD-7FC30878E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CBBB3E-C696-5649-F42C-1C79C3CE5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77483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50DEAA6-0B14-0AC3-E7FE-AC4C2A98D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87A4D3B-ACCE-CD47-7BC7-53086F9A84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88FCAE2-810A-3C3D-1827-93A18BF17B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96065CE-697F-9610-FC12-44BA35D71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CE14EAF-EFBF-24C2-D540-DAE8E8026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787773A-56F6-0D37-70A8-1D088EA1E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4914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5D55F73-B9D5-195F-1E9A-2AF7C07E2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0E549151-E69D-3BDA-A31E-25E77A0B03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1E9909F-8FB5-A2F6-5A14-AB72E40D49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E138D06-D103-C6AE-BB97-4B4B6F902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F1B630B-333E-553C-34D9-5FDEA4F16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43B90F7-15D3-121A-42FE-DC3499BF3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775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B468C229-DB36-AD96-08AC-2B86FB3AE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7203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353" imgH="353" progId="TCLayout.ActiveDocument.1">
                  <p:embed/>
                </p:oleObj>
              </mc:Choice>
              <mc:Fallback>
                <p:oleObj name="think-cell 幻灯片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CFCF19FE-1082-50CF-52CF-EAE153573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25BBD2B-7539-D1C6-F2DA-E2E02B447E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7FA91B-CC8D-499C-903C-908E1B116F23}" type="datetimeFigureOut">
              <a:rPr lang="zh-CN" altLang="en-US" smtClean="0"/>
              <a:t>2022/10/19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0A124E1-3A94-796D-0E10-4DE09E511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9CA7E7B-F003-635D-3A67-E8D803A9C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C0CDF-9788-4C5A-8788-E83A3293027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922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5" Type="http://schemas.openxmlformats.org/officeDocument/2006/relationships/tags" Target="../tags/tag7.xml"/><Relationship Id="rId90" Type="http://schemas.openxmlformats.org/officeDocument/2006/relationships/slideLayout" Target="../slideLayouts/slideLayout2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oleObject" Target="../embeddings/oleObject2.bin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image" Target="../media/image1.emf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对象 65" hidden="1">
            <a:extLst>
              <a:ext uri="{FF2B5EF4-FFF2-40B4-BE49-F238E27FC236}">
                <a16:creationId xmlns:a16="http://schemas.microsoft.com/office/drawing/2014/main" id="{5B18278E-00CC-A43E-1BCE-DAC60967D2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968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1" imgW="353" imgH="353" progId="TCLayout.ActiveDocument.1">
                  <p:embed/>
                </p:oleObj>
              </mc:Choice>
              <mc:Fallback>
                <p:oleObj name="think-cell 幻灯片" r:id="rId9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054DA1CB-35E2-12E2-12E5-747599CC3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3594" y="42070"/>
            <a:ext cx="10515600" cy="673894"/>
          </a:xfrm>
        </p:spPr>
        <p:txBody>
          <a:bodyPr vert="horz">
            <a:normAutofit/>
          </a:bodyPr>
          <a:lstStyle/>
          <a:p>
            <a:pPr algn="ctr"/>
            <a:r>
              <a:rPr lang="en-US" altLang="zh-CN" sz="3200" dirty="0" err="1"/>
              <a:t>Zeitplan</a:t>
            </a:r>
            <a:r>
              <a:rPr lang="en-US" altLang="zh-CN" sz="3200" dirty="0"/>
              <a:t> </a:t>
            </a:r>
            <a:r>
              <a:rPr lang="en-US" altLang="zh-CN" sz="3200" dirty="0" err="1"/>
              <a:t>Masterarbeit</a:t>
            </a:r>
            <a:r>
              <a:rPr lang="en-US" altLang="zh-CN" sz="3200" dirty="0"/>
              <a:t> Chengxi Li</a:t>
            </a:r>
            <a:endParaRPr lang="zh-CN" altLang="en-US" sz="3200" dirty="0"/>
          </a:p>
        </p:txBody>
      </p:sp>
      <p:sp>
        <p:nvSpPr>
          <p:cNvPr id="99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909889" y="809625"/>
            <a:ext cx="46132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FE3EC9-3EA1-4A82-BDE2-34746754EA6E}" type="datetime'''''2''''''''''''''''''''''''''''''''''''0''2''''2'''">
              <a:rPr lang="zh-CN" altLang="en-US" sz="14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D4E64037-7FDD-F5EF-8D83-935393D8B76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523163" y="809625"/>
            <a:ext cx="45116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D52EB9-28FB-4D57-B88B-417955F41D9D}" type="datetime'2''''''''''''''''''0''2''''''''3'''''''">
              <a:rPr lang="zh-CN" altLang="en-US" sz="1400" b="1" smtClean="0"/>
              <a:pPr/>
              <a:t>2023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36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09889" y="1049338"/>
            <a:ext cx="1554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 err="1">
                <a:effectLst/>
                <a:ea typeface="等线" panose="02010600030101010101" pitchFamily="2" charset="-122"/>
              </a:rPr>
              <a:t>Okt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37" name="文本占位符 2">
            <a:extLst>
              <a:ext uri="{FF2B5EF4-FFF2-40B4-BE49-F238E27FC236}">
                <a16:creationId xmlns:a16="http://schemas.microsoft.com/office/drawing/2014/main" id="{1EBB0E7A-20FD-6A40-09F5-A976819F763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464050" y="1049338"/>
            <a:ext cx="15049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/>
              <a:t>Nov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38" name="文本占位符 2">
            <a:extLst>
              <a:ext uri="{FF2B5EF4-FFF2-40B4-BE49-F238E27FC236}">
                <a16:creationId xmlns:a16="http://schemas.microsoft.com/office/drawing/2014/main" id="{BE990C50-35A5-4445-F1C6-C3BA4D62A2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69001" y="1049338"/>
            <a:ext cx="1554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/>
              <a:t>Dez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15C45859-EEAF-D70D-A5DE-BFD2B93DED4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23164" y="1049338"/>
            <a:ext cx="1554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/>
              <a:t>Jan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927B730A-7B99-2CE2-4721-202D593389C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077325" y="1049338"/>
            <a:ext cx="14033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/>
              <a:t>Feb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4BE57E2E-68DA-04A8-FF30-2A29DA8D944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480676" y="1049338"/>
            <a:ext cx="1554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/>
              <a:t>Mär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203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09889" y="1289050"/>
            <a:ext cx="1000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204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00990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16160-B1B1-4046-BE60-D350A0E3B029}" type="datetime'''''''''''''''''''''''''''''''''''''4''''0'''''''''''''''''">
              <a:rPr lang="zh-CN" altLang="en-US" sz="14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77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6073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5B348F-721E-43F1-B122-DD4E7A67588A}" type="datetime'''''''''''''4''1'''''''''''''''''''''''''''''''''''''''''''''">
              <a:rPr lang="zh-CN" altLang="en-US" sz="1400" b="1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79" name="文本占位符 2">
            <a:extLst>
              <a:ext uri="{FF2B5EF4-FFF2-40B4-BE49-F238E27FC236}">
                <a16:creationId xmlns:a16="http://schemas.microsoft.com/office/drawing/2014/main" id="{6C67B7AE-060D-9BAC-5DDE-89127355E56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71157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FC28B-0C5F-4738-AC9A-238999E0E738}" type="datetime'''''''''''''''''4''''''''''''''''''''''''''''''2'''''''''''''">
              <a:rPr lang="zh-CN" altLang="en-US" sz="1400" b="1" smtClean="0"/>
              <a:pPr/>
              <a:t>42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0" name="文本占位符 2">
            <a:extLst>
              <a:ext uri="{FF2B5EF4-FFF2-40B4-BE49-F238E27FC236}">
                <a16:creationId xmlns:a16="http://schemas.microsoft.com/office/drawing/2014/main" id="{C13D9986-2346-7B31-3EAB-BD3FDEA2B84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62413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26475A-EAA2-4351-AF93-42CD260E4E0F}" type="datetime'4''''''''''''''''''''''''''''''3'''''''''''''">
              <a:rPr lang="zh-CN" altLang="en-US" sz="1400" b="1" smtClean="0"/>
              <a:pPr/>
              <a:t>43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1" name="文本占位符 2">
            <a:extLst>
              <a:ext uri="{FF2B5EF4-FFF2-40B4-BE49-F238E27FC236}">
                <a16:creationId xmlns:a16="http://schemas.microsoft.com/office/drawing/2014/main" id="{27424B6A-B041-8E0F-52FF-A910E744DE0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13251" y="1289050"/>
            <a:ext cx="352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0F04A-3010-447E-A593-49ED38B412FD}" type="datetime'''''''4''''''4'''''''''''''">
              <a:rPr lang="zh-CN" altLang="en-US" sz="1400" b="1" smtClean="0"/>
              <a:pPr/>
              <a:t>44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2" name="文本占位符 2">
            <a:extLst>
              <a:ext uri="{FF2B5EF4-FFF2-40B4-BE49-F238E27FC236}">
                <a16:creationId xmlns:a16="http://schemas.microsoft.com/office/drawing/2014/main" id="{D4C9C319-E27D-5C17-6E58-4ABE342B3A3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76567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BFA092-50A8-4122-BB77-C1B2471E70A4}" type="datetime'''''''''''4''''''''''''''''''''''5'''''''''''''''''''">
              <a:rPr lang="zh-CN" altLang="en-US" sz="1400" b="1" smtClean="0"/>
              <a:pPr/>
              <a:t>45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3" name="文本占位符 2">
            <a:extLst>
              <a:ext uri="{FF2B5EF4-FFF2-40B4-BE49-F238E27FC236}">
                <a16:creationId xmlns:a16="http://schemas.microsoft.com/office/drawing/2014/main" id="{BDF548A7-335E-E677-3868-53774AF193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116513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64C587-DBA4-495F-B197-40BCABD34C21}" type="datetime'''''''''''46'''''''''''''''''''''">
              <a:rPr lang="zh-CN" altLang="en-US" sz="1400" b="1" smtClean="0"/>
              <a:pPr/>
              <a:t>46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4" name="文本占位符 2">
            <a:extLst>
              <a:ext uri="{FF2B5EF4-FFF2-40B4-BE49-F238E27FC236}">
                <a16:creationId xmlns:a16="http://schemas.microsoft.com/office/drawing/2014/main" id="{7D59D51B-5A69-B70D-DA2E-1F0EF9D2C22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6735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0EC42-9BB7-4BF5-BEBE-60C9C7C0431B}" type="datetime'''''''''''''''''''''''''4''''7'''''''''''''''">
              <a:rPr lang="zh-CN" altLang="en-US" sz="1400" b="1" smtClean="0"/>
              <a:pPr/>
              <a:t>47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5" name="文本占位符 2">
            <a:extLst>
              <a:ext uri="{FF2B5EF4-FFF2-40B4-BE49-F238E27FC236}">
                <a16:creationId xmlns:a16="http://schemas.microsoft.com/office/drawing/2014/main" id="{BDA0C741-09FF-4227-2515-799800A87E2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81818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82B46A-C3B0-47AA-A0CA-F63E7A92813C}" type="datetime'''''4''''''''''''''''''''''8'''''''''''''">
              <a:rPr lang="zh-CN" altLang="en-US" sz="1400" b="1" smtClean="0"/>
              <a:pPr/>
              <a:t>48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6" name="文本占位符 2">
            <a:extLst>
              <a:ext uri="{FF2B5EF4-FFF2-40B4-BE49-F238E27FC236}">
                <a16:creationId xmlns:a16="http://schemas.microsoft.com/office/drawing/2014/main" id="{A614A680-42C3-BBE7-9258-069F3E6364C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16902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6E9FB6-FDB3-43DB-84DE-8922915F9377}" type="datetime'''''''''''''4''''''''9'''''''''''''''''''''''''''">
              <a:rPr lang="zh-CN" altLang="en-US" sz="1400" b="1" smtClean="0"/>
              <a:pPr/>
              <a:t>49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7" name="文本占位符 2">
            <a:extLst>
              <a:ext uri="{FF2B5EF4-FFF2-40B4-BE49-F238E27FC236}">
                <a16:creationId xmlns:a16="http://schemas.microsoft.com/office/drawing/2014/main" id="{1E147993-2164-40CE-6C89-05A4E6B43AA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19863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C909FB-9D6E-40DF-9661-CA0FA449010B}" type="datetime'''''''''''''''''''''''''5''''0'''''''''''''''''''''''''''">
              <a:rPr lang="zh-CN" altLang="en-US" sz="1400" b="1" smtClean="0"/>
              <a:pPr/>
              <a:t>50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8" name="文本占位符 2">
            <a:extLst>
              <a:ext uri="{FF2B5EF4-FFF2-40B4-BE49-F238E27FC236}">
                <a16:creationId xmlns:a16="http://schemas.microsoft.com/office/drawing/2014/main" id="{C4DD1925-7436-C447-5233-1FB6EB5D62F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87070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71CDAE-C473-436F-A8D1-D8F4375C81C5}" type="datetime'''5''''''''1'''">
              <a:rPr lang="zh-CN" altLang="en-US" sz="1400" b="1" smtClean="0"/>
              <a:pPr/>
              <a:t>51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89" name="文本占位符 2">
            <a:extLst>
              <a:ext uri="{FF2B5EF4-FFF2-40B4-BE49-F238E27FC236}">
                <a16:creationId xmlns:a16="http://schemas.microsoft.com/office/drawing/2014/main" id="{99CAF895-686B-BA93-0BBF-9B6398FBD7C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22153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79A8B0-FF27-4F48-9B65-407700FE244D}" type="datetime'''5''''''''2'''''''''''''''''''''''''''''''">
              <a:rPr lang="zh-CN" altLang="en-US" sz="1400" b="1" smtClean="0"/>
              <a:pPr/>
              <a:t>52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0" name="文本占位符 2">
            <a:extLst>
              <a:ext uri="{FF2B5EF4-FFF2-40B4-BE49-F238E27FC236}">
                <a16:creationId xmlns:a16="http://schemas.microsoft.com/office/drawing/2014/main" id="{F8F757A2-CB07-EC13-BA1F-7240503033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57237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FD335-4F21-4586-9FFA-983C38D1D032}" type="datetime'''''''0''''''''''''''''''''''''''1'''''''">
              <a:rPr lang="zh-CN" altLang="en-US" sz="1400" b="1" smtClean="0"/>
              <a:pPr/>
              <a:t>01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1" name="文本占位符 2">
            <a:extLst>
              <a:ext uri="{FF2B5EF4-FFF2-40B4-BE49-F238E27FC236}">
                <a16:creationId xmlns:a16="http://schemas.microsoft.com/office/drawing/2014/main" id="{55500F69-B94B-EDD5-4A89-96CD7762400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23213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A21F99-601E-46C4-881F-EA4466EB6B29}" type="datetime'''''''''''0''''''''''''''2'''''''''''''''''''''''''''''''''">
              <a:rPr lang="zh-CN" altLang="en-US" sz="1400" b="1" smtClean="0"/>
              <a:pPr/>
              <a:t>02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2" name="文本占位符 2">
            <a:extLst>
              <a:ext uri="{FF2B5EF4-FFF2-40B4-BE49-F238E27FC236}">
                <a16:creationId xmlns:a16="http://schemas.microsoft.com/office/drawing/2014/main" id="{A188B98A-AE80-C202-32C8-271A4A2247C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27405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FD010A-9387-4168-9943-06914755F0E9}" type="datetime'''''0''''''''''''''''''''''''''''''''''3'''''''''''''''''''">
              <a:rPr lang="zh-CN" altLang="en-US" sz="1400" b="1" smtClean="0"/>
              <a:pPr/>
              <a:t>03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3" name="文本占位符 2">
            <a:extLst>
              <a:ext uri="{FF2B5EF4-FFF2-40B4-BE49-F238E27FC236}">
                <a16:creationId xmlns:a16="http://schemas.microsoft.com/office/drawing/2014/main" id="{D1D9C4F1-8564-03EE-3E74-48847181126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62488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440C45-3B00-4603-82AC-E6D9C017447D}" type="datetime'''''''''''''''''''''0''''''''''''''''''''''''''''4'''">
              <a:rPr lang="zh-CN" altLang="en-US" sz="1400" b="1" smtClean="0"/>
              <a:pPr/>
              <a:t>04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4" name="文本占位符 2">
            <a:extLst>
              <a:ext uri="{FF2B5EF4-FFF2-40B4-BE49-F238E27FC236}">
                <a16:creationId xmlns:a16="http://schemas.microsoft.com/office/drawing/2014/main" id="{5091D16C-2D57-9330-3184-39E3DC700FB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975726" y="1289050"/>
            <a:ext cx="3524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1E0F0B-B692-4F91-B966-E5589763E3FD}" type="datetime'0''''''''''''''''''''''''''''''''''''''''5'''''''''''''''''">
              <a:rPr lang="zh-CN" altLang="en-US" sz="1400" b="1" smtClean="0"/>
              <a:pPr/>
              <a:t>05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5" name="文本占位符 2">
            <a:extLst>
              <a:ext uri="{FF2B5EF4-FFF2-40B4-BE49-F238E27FC236}">
                <a16:creationId xmlns:a16="http://schemas.microsoft.com/office/drawing/2014/main" id="{F9B78008-6022-13E6-D95F-8F3F62858D5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2815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48DBF-FA2C-420B-8BB5-28B733E887D9}" type="datetime'0''''''''''''''''6'''''''">
              <a:rPr lang="zh-CN" altLang="en-US" sz="1400" b="1" smtClean="0"/>
              <a:pPr/>
              <a:t>06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6" name="文本占位符 2">
            <a:extLst>
              <a:ext uri="{FF2B5EF4-FFF2-40B4-BE49-F238E27FC236}">
                <a16:creationId xmlns:a16="http://schemas.microsoft.com/office/drawing/2014/main" id="{1B332DA8-03F4-7FC3-A89B-0C62A246FF2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67898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F60658-298D-4C75-9DA9-0C716DF537C2}" type="datetime'''''''''''''''''''''''''0''''''''''''''7'''''''''''''''''''''">
              <a:rPr lang="zh-CN" altLang="en-US" sz="1400" b="1" smtClean="0"/>
              <a:pPr/>
              <a:t>07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7" name="文本占位符 2">
            <a:extLst>
              <a:ext uri="{FF2B5EF4-FFF2-40B4-BE49-F238E27FC236}">
                <a16:creationId xmlns:a16="http://schemas.microsoft.com/office/drawing/2014/main" id="{142D866E-AC98-594C-BA4F-DD026A32BFD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02982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584D3-FFB6-469E-9964-6BE4CB694BFA}" type="datetime'0''''''''''''''''''''''''''''''8'''''''''''''''''''''''''">
              <a:rPr lang="zh-CN" altLang="en-US" sz="1400" b="1" smtClean="0"/>
              <a:pPr/>
              <a:t>08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8" name="文本占位符 2">
            <a:extLst>
              <a:ext uri="{FF2B5EF4-FFF2-40B4-BE49-F238E27FC236}">
                <a16:creationId xmlns:a16="http://schemas.microsoft.com/office/drawing/2014/main" id="{64418536-451D-2478-3D28-1475EF1EB96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380663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A29E09-B316-44E1-9E06-0B369F2E572D}" type="datetime'''''''''''''0''''''''''''9'''''''''''''">
              <a:rPr lang="zh-CN" altLang="en-US" sz="1400" b="1" smtClean="0"/>
              <a:pPr/>
              <a:t>09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199" name="文本占位符 2">
            <a:extLst>
              <a:ext uri="{FF2B5EF4-FFF2-40B4-BE49-F238E27FC236}">
                <a16:creationId xmlns:a16="http://schemas.microsoft.com/office/drawing/2014/main" id="{5F35CD27-A6E6-CFB5-BD14-B4389CCA667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731500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6426E5-D9D6-4748-AAE2-EB9E0EA5A8A5}" type="datetime'''''''''''''''''''''''''1''''''''''''''''''''''''''''''''0'">
              <a:rPr lang="zh-CN" altLang="en-US" sz="1400" b="1" smtClean="0"/>
              <a:pPr/>
              <a:t>10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200" name="文本占位符 2">
            <a:extLst>
              <a:ext uri="{FF2B5EF4-FFF2-40B4-BE49-F238E27FC236}">
                <a16:creationId xmlns:a16="http://schemas.microsoft.com/office/drawing/2014/main" id="{4E83773B-5829-4247-0859-C0E8B01E463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082338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281425-2061-4E6B-9862-910AE1203BA1}" type="datetime'''''''''''''1''''''''''''''''''''''''''''''1'''''">
              <a:rPr lang="zh-CN" altLang="en-US" sz="1400" b="1" smtClean="0"/>
              <a:pPr/>
              <a:t>11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201" name="文本占位符 2">
            <a:extLst>
              <a:ext uri="{FF2B5EF4-FFF2-40B4-BE49-F238E27FC236}">
                <a16:creationId xmlns:a16="http://schemas.microsoft.com/office/drawing/2014/main" id="{2110E52B-562B-E91F-CB4F-50F1FF18A83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433175" y="1289050"/>
            <a:ext cx="35083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FAFD70-2740-4168-A4D2-3C20233F59BE}" type="datetime'''''''''''1''''''''''''''''''''''''''2'">
              <a:rPr lang="zh-CN" altLang="en-US" sz="1400" b="1" smtClean="0"/>
              <a:pPr/>
              <a:t>12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202" name="文本占位符 2">
            <a:extLst>
              <a:ext uri="{FF2B5EF4-FFF2-40B4-BE49-F238E27FC236}">
                <a16:creationId xmlns:a16="http://schemas.microsoft.com/office/drawing/2014/main" id="{176EF5B6-1BB1-4267-C364-8657A52DDED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784014" y="1289050"/>
            <a:ext cx="2508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60B85A-3618-45BF-A296-E98917DBA685}" type="datetime'''''''''''''13'''''''''''''''''''''''''''''''''">
              <a:rPr lang="zh-CN" altLang="en-US" sz="1400" b="1" smtClean="0"/>
              <a:pPr/>
              <a:t>13</a:t>
            </a:fld>
            <a:endParaRPr lang="zh-CN" altLang="en-US" sz="1400" b="1" dirty="0">
              <a:ea typeface="等线" panose="02010600030101010101" pitchFamily="2" charset="-122"/>
            </a:endParaRP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3CA860A9-8D39-FCAF-4575-4EBBFFA8BCE0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2909888" y="1528763"/>
            <a:ext cx="0" cy="51768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69A8D1A3-EFF9-6B83-5860-1DD14B9B8C1D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596900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1B01A1C7-1C12-418C-FACD-37472E676BA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1048067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直接连接符 101">
            <a:extLst>
              <a:ext uri="{FF2B5EF4-FFF2-40B4-BE49-F238E27FC236}">
                <a16:creationId xmlns:a16="http://schemas.microsoft.com/office/drawing/2014/main" id="{0F2D000E-BCF1-5632-BAFF-9A818FD64BA6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07732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4F70800B-0D60-D7D5-2BA8-C5823CD5ACF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446405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0AD45037-4454-FB3C-AB70-5F54F307E4F8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147638" y="1528763"/>
            <a:ext cx="0" cy="51768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直接连接符 100">
            <a:extLst>
              <a:ext uri="{FF2B5EF4-FFF2-40B4-BE49-F238E27FC236}">
                <a16:creationId xmlns:a16="http://schemas.microsoft.com/office/drawing/2014/main" id="{50D66254-77A4-233F-EF0C-63C0526F207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752316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E83E3BAB-5FA1-00DA-936C-6DECCB02837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2034838" y="1528763"/>
            <a:ext cx="0" cy="51768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01BBDF1-1BB2-1B3B-7DDA-19FF4006D80B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71157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A892576A-9459-0FBF-1FD2-7E1C57CA0FEB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687070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7D6F4116-E548-4F4C-FC51-8CE5D47F790D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722153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AF88B6A4-B4B8-32EE-63EA-DE29032E1D9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476567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1D96AAFC-9D67-C5EC-0AF2-FE624B3F1E20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757237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直接连接符 113">
            <a:extLst>
              <a:ext uri="{FF2B5EF4-FFF2-40B4-BE49-F238E27FC236}">
                <a16:creationId xmlns:a16="http://schemas.microsoft.com/office/drawing/2014/main" id="{DF8012D6-96B2-DD83-07D9-EB627C02C7A8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1108233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8DF660E6-8994-9C3F-F3DD-285AD9A0025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406241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id="{AA2552B9-2B7C-0C22-39F8-9F87C919A2B1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441325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3CCFEE46-A9DC-7020-BFC8-3EADE459975C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11651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69BDA1AB-C37E-F5E1-8E0F-2A105586315B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792321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直接连接符 105">
            <a:extLst>
              <a:ext uri="{FF2B5EF4-FFF2-40B4-BE49-F238E27FC236}">
                <a16:creationId xmlns:a16="http://schemas.microsoft.com/office/drawing/2014/main" id="{6DA9E32A-EFB5-670A-1581-8090B29F7406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827405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3B8FF371-566F-10D2-5179-340834B8E5A1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546735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直接连接符 107">
            <a:extLst>
              <a:ext uri="{FF2B5EF4-FFF2-40B4-BE49-F238E27FC236}">
                <a16:creationId xmlns:a16="http://schemas.microsoft.com/office/drawing/2014/main" id="{420C1BA6-E00D-33D1-240A-439FA487019D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897572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直接连接符 108">
            <a:extLst>
              <a:ext uri="{FF2B5EF4-FFF2-40B4-BE49-F238E27FC236}">
                <a16:creationId xmlns:a16="http://schemas.microsoft.com/office/drawing/2014/main" id="{42E205F2-3556-782B-2212-D1DB91CB3097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932815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直接连接符 109">
            <a:extLst>
              <a:ext uri="{FF2B5EF4-FFF2-40B4-BE49-F238E27FC236}">
                <a16:creationId xmlns:a16="http://schemas.microsoft.com/office/drawing/2014/main" id="{858E9227-5BC0-C3C0-D990-9070A21D6354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967898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直接连接符 115">
            <a:extLst>
              <a:ext uri="{FF2B5EF4-FFF2-40B4-BE49-F238E27FC236}">
                <a16:creationId xmlns:a16="http://schemas.microsoft.com/office/drawing/2014/main" id="{C4448130-9C2B-5C3B-1471-3BD7180FCF24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1178401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直接连接符 110">
            <a:extLst>
              <a:ext uri="{FF2B5EF4-FFF2-40B4-BE49-F238E27FC236}">
                <a16:creationId xmlns:a16="http://schemas.microsoft.com/office/drawing/2014/main" id="{692A7F40-95D4-4773-BBE0-58273CBD4B76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002982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02BEC62B-DC34-A84D-727B-BD99328EB553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651986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直接连接符 111">
            <a:extLst>
              <a:ext uri="{FF2B5EF4-FFF2-40B4-BE49-F238E27FC236}">
                <a16:creationId xmlns:a16="http://schemas.microsoft.com/office/drawing/2014/main" id="{FD885B9B-75F9-8A2B-E94F-FDFEC72E410A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10380663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直接连接符 114">
            <a:extLst>
              <a:ext uri="{FF2B5EF4-FFF2-40B4-BE49-F238E27FC236}">
                <a16:creationId xmlns:a16="http://schemas.microsoft.com/office/drawing/2014/main" id="{D1FEC0BB-1FFB-0BA4-88C0-F2DB4B953FD0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1143317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DA0B59FF-29A8-51F9-7B0E-0F845422FEA0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336073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直接连接符 106">
            <a:extLst>
              <a:ext uri="{FF2B5EF4-FFF2-40B4-BE49-F238E27FC236}">
                <a16:creationId xmlns:a16="http://schemas.microsoft.com/office/drawing/2014/main" id="{6B99C18A-8769-CF56-B155-BAE301A771E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862488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960CCC08-01AC-EA58-3D99-C4110050F50A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1073150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A4D4C04C-0CF5-1004-F0EB-30A7535BAF7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3009900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D7AC389B-1DD2-1662-BE28-A6E60C720DFA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5818188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E3BD0B41-098F-0F10-564C-BEC23FF4BC87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6169025" y="1528763"/>
            <a:ext cx="0" cy="51768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直接连接符 214">
            <a:extLst>
              <a:ext uri="{FF2B5EF4-FFF2-40B4-BE49-F238E27FC236}">
                <a16:creationId xmlns:a16="http://schemas.microsoft.com/office/drawing/2014/main" id="{D8A6FD5C-AEBD-A5D4-C5ED-D95C5B996A7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47638" y="6081713"/>
            <a:ext cx="11887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直接连接符 205">
            <a:extLst>
              <a:ext uri="{FF2B5EF4-FFF2-40B4-BE49-F238E27FC236}">
                <a16:creationId xmlns:a16="http://schemas.microsoft.com/office/drawing/2014/main" id="{818961EF-02D3-E889-FE9C-8CE93F93B1CF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47638" y="3876675"/>
            <a:ext cx="11887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7" name="直接连接符 206">
            <a:extLst>
              <a:ext uri="{FF2B5EF4-FFF2-40B4-BE49-F238E27FC236}">
                <a16:creationId xmlns:a16="http://schemas.microsoft.com/office/drawing/2014/main" id="{86831BF4-F84A-4C75-9209-7FD0B20A69B7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147638" y="5075238"/>
            <a:ext cx="118872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直接连接符 64">
            <a:extLst>
              <a:ext uri="{FF2B5EF4-FFF2-40B4-BE49-F238E27FC236}">
                <a16:creationId xmlns:a16="http://schemas.microsoft.com/office/drawing/2014/main" id="{67B927B6-C94C-F6CA-4350-9A054C6D452A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>
            <a:off x="147638" y="6705600"/>
            <a:ext cx="11887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C7AA0C63-D1BD-E2D5-8C48-64FD76186BD7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47638" y="1528763"/>
            <a:ext cx="11887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9" name="矩形 218">
            <a:extLst>
              <a:ext uri="{FF2B5EF4-FFF2-40B4-BE49-F238E27FC236}">
                <a16:creationId xmlns:a16="http://schemas.microsoft.com/office/drawing/2014/main" id="{AAB4CA44-379C-FC71-CFE8-0636EE8F5261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10731501" y="6340475"/>
            <a:ext cx="12985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6" name="矩形 215">
            <a:extLst>
              <a:ext uri="{FF2B5EF4-FFF2-40B4-BE49-F238E27FC236}">
                <a16:creationId xmlns:a16="http://schemas.microsoft.com/office/drawing/2014/main" id="{F2A17088-2BCF-50F3-0D76-1F2E80F6BECF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218238" y="4135438"/>
            <a:ext cx="28590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43E49B4-2C68-5D7B-3E9A-0CDCEFD3BCEA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2914651" y="1787525"/>
            <a:ext cx="11477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7" name="矩形 216">
            <a:extLst>
              <a:ext uri="{FF2B5EF4-FFF2-40B4-BE49-F238E27FC236}">
                <a16:creationId xmlns:a16="http://schemas.microsoft.com/office/drawing/2014/main" id="{80E34479-5B20-C5D3-04A9-C99EE5031A8B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9077326" y="5334000"/>
            <a:ext cx="16541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1" name="矩形 210">
            <a:extLst>
              <a:ext uri="{FF2B5EF4-FFF2-40B4-BE49-F238E27FC236}">
                <a16:creationId xmlns:a16="http://schemas.microsoft.com/office/drawing/2014/main" id="{A5E6E4E7-405F-BDE5-4094-14DF3C23531E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4062413" y="2457450"/>
            <a:ext cx="7524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2" name="矩形 211">
            <a:extLst>
              <a:ext uri="{FF2B5EF4-FFF2-40B4-BE49-F238E27FC236}">
                <a16:creationId xmlns:a16="http://schemas.microsoft.com/office/drawing/2014/main" id="{E719FD21-06D1-C104-4DDB-B45DF99EB3CF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4464051" y="3128963"/>
            <a:ext cx="1704975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8" name="矩形 217">
            <a:extLst>
              <a:ext uri="{FF2B5EF4-FFF2-40B4-BE49-F238E27FC236}">
                <a16:creationId xmlns:a16="http://schemas.microsoft.com/office/drawing/2014/main" id="{D9CC4BFD-273C-F124-616D-24143A7D3494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7070725" y="6340475"/>
            <a:ext cx="100330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7" name="文本占位符 2">
            <a:extLst>
              <a:ext uri="{FF2B5EF4-FFF2-40B4-BE49-F238E27FC236}">
                <a16:creationId xmlns:a16="http://schemas.microsoft.com/office/drawing/2014/main" id="{7F677537-C91B-77E8-F1FA-B8811A643DE0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219075" y="3086100"/>
            <a:ext cx="221138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/>
              <a:t>Einarbeitung</a:t>
            </a:r>
            <a:r>
              <a:rPr lang="en-US" altLang="zh-CN" sz="1400" dirty="0"/>
              <a:t> und </a:t>
            </a:r>
            <a:r>
              <a:rPr lang="en-US" altLang="zh-CN" sz="1400" dirty="0" err="1"/>
              <a:t>Analyse</a:t>
            </a:r>
            <a:r>
              <a:rPr lang="en-US" altLang="zh-CN" sz="1400" dirty="0"/>
              <a:t>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in die </a:t>
            </a:r>
            <a:r>
              <a:rPr lang="en-US" altLang="zh-CN" sz="1400" dirty="0" err="1"/>
              <a:t>Modelle</a:t>
            </a:r>
            <a:r>
              <a:rPr lang="en-US" altLang="zh-CN" sz="1400" dirty="0"/>
              <a:t> von </a:t>
            </a:r>
            <a:r>
              <a:rPr lang="en-US" altLang="zh-CN" sz="1400" dirty="0" err="1"/>
              <a:t>aktuellen</a:t>
            </a:r>
            <a:r>
              <a:rPr lang="en-US" altLang="zh-CN" sz="1400" dirty="0"/>
              <a:t>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/>
              <a:t>BMW Fzg.-</a:t>
            </a:r>
            <a:r>
              <a:rPr lang="en-US" altLang="zh-CN" sz="1400" dirty="0" err="1"/>
              <a:t>Funktionen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19075" y="4092575"/>
            <a:ext cx="2270125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effectLst/>
                <a:ea typeface="等线" panose="02010600030101010101" pitchFamily="2" charset="-122"/>
              </a:rPr>
              <a:t>Modellierung</a:t>
            </a:r>
            <a:r>
              <a:rPr lang="en-US" altLang="zh-CN" sz="1400" dirty="0">
                <a:effectLst/>
                <a:ea typeface="等线" panose="02010600030101010101" pitchFamily="2" charset="-122"/>
              </a:rPr>
              <a:t> und Simulation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der Corner-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Funktionen</a:t>
            </a:r>
            <a:r>
              <a:rPr lang="en-US" altLang="zh-CN" sz="1400" dirty="0">
                <a:effectLst/>
                <a:ea typeface="等线" panose="02010600030101010101" pitchFamily="2" charset="-122"/>
              </a:rPr>
              <a:t> 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inkl</a:t>
            </a:r>
            <a:r>
              <a:rPr lang="en-US" altLang="zh-CN" sz="1400" dirty="0">
                <a:effectLst/>
                <a:ea typeface="等线" panose="02010600030101010101" pitchFamily="2" charset="-122"/>
              </a:rPr>
              <a:t>.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Parameter für Proof-of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Concept 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Architektur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219075" y="5291138"/>
            <a:ext cx="2619375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effectLst/>
                <a:ea typeface="等线" panose="02010600030101010101" pitchFamily="2" charset="-122"/>
              </a:rPr>
              <a:t>Dynamische</a:t>
            </a:r>
            <a:r>
              <a:rPr lang="en-US" altLang="zh-CN" sz="1400" dirty="0">
                <a:effectLst/>
                <a:ea typeface="等线" panose="02010600030101010101" pitchFamily="2" charset="-122"/>
              </a:rPr>
              <a:t> 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Funktionsaktivierung</a:t>
            </a:r>
            <a:r>
              <a:rPr lang="en-US" altLang="zh-CN" sz="1400" dirty="0">
                <a:ea typeface="等线" panose="02010600030101010101" pitchFamily="2" charset="-122"/>
              </a:rPr>
              <a:t>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und –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Deaktivierung</a:t>
            </a:r>
            <a:r>
              <a:rPr lang="en-US" altLang="zh-CN" sz="1400" dirty="0">
                <a:ea typeface="等线" panose="02010600030101010101" pitchFamily="2" charset="-122"/>
              </a:rPr>
              <a:t>: Koordination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ea typeface="等线" panose="02010600030101010101" pitchFamily="2" charset="-122"/>
              </a:rPr>
              <a:t>zentral</a:t>
            </a:r>
            <a:r>
              <a:rPr lang="en-US" altLang="zh-CN" sz="1400" dirty="0">
                <a:ea typeface="等线" panose="02010600030101010101" pitchFamily="2" charset="-122"/>
              </a:rPr>
              <a:t> </a:t>
            </a:r>
            <a:r>
              <a:rPr lang="en-US" altLang="zh-CN" sz="1400" dirty="0" err="1">
                <a:ea typeface="等线" panose="02010600030101010101" pitchFamily="2" charset="-122"/>
              </a:rPr>
              <a:t>oder</a:t>
            </a:r>
            <a:r>
              <a:rPr lang="en-US" altLang="zh-CN" sz="1400" dirty="0">
                <a:ea typeface="等线" panose="02010600030101010101" pitchFamily="2" charset="-122"/>
              </a:rPr>
              <a:t> </a:t>
            </a:r>
            <a:r>
              <a:rPr lang="en-US" altLang="zh-CN" sz="1400" dirty="0" err="1">
                <a:ea typeface="等线" panose="02010600030101010101" pitchFamily="2" charset="-122"/>
              </a:rPr>
              <a:t>dezentral</a:t>
            </a:r>
            <a:r>
              <a:rPr lang="en-US" altLang="zh-CN" sz="1400" dirty="0">
                <a:ea typeface="等线" panose="02010600030101010101" pitchFamily="2" charset="-122"/>
              </a:rPr>
              <a:t>?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13" name="文本占位符 2">
            <a:extLst>
              <a:ext uri="{FF2B5EF4-FFF2-40B4-BE49-F238E27FC236}">
                <a16:creationId xmlns:a16="http://schemas.microsoft.com/office/drawing/2014/main" id="{E6A7FA45-CADC-2471-46B5-F15F57E42B91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19075" y="6297613"/>
            <a:ext cx="2165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/>
              <a:t>Verfassung</a:t>
            </a:r>
            <a:r>
              <a:rPr lang="en-US" altLang="zh-CN" sz="1400" dirty="0"/>
              <a:t> der </a:t>
            </a:r>
            <a:r>
              <a:rPr lang="en-US" altLang="zh-CN" sz="1400" dirty="0" err="1"/>
              <a:t>Masterarbeit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1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219075" y="1312863"/>
            <a:ext cx="4603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 err="1">
                <a:effectLst/>
                <a:ea typeface="等线" panose="02010600030101010101" pitchFamily="2" charset="-122"/>
              </a:rPr>
              <a:t>Inhalt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219075" y="2414588"/>
            <a:ext cx="19526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Tooling für </a:t>
            </a:r>
            <a:r>
              <a:rPr lang="en-US" altLang="zh-CN" sz="1400" dirty="0" err="1">
                <a:effectLst/>
                <a:ea typeface="等线" panose="02010600030101010101" pitchFamily="2" charset="-122"/>
              </a:rPr>
              <a:t>Modellierung</a:t>
            </a:r>
            <a:r>
              <a:rPr lang="en-US" altLang="zh-CN" sz="1400" dirty="0">
                <a:effectLst/>
                <a:ea typeface="等线" panose="02010600030101010101" pitchFamily="2" charset="-122"/>
              </a:rPr>
              <a:t>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effectLst/>
                <a:ea typeface="等线" panose="02010600030101010101" pitchFamily="2" charset="-122"/>
              </a:rPr>
              <a:t>und Simulation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2B62B33D-5CF8-ADAA-4EFF-5E9BF326AB3E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219075" y="1744663"/>
            <a:ext cx="1484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ea typeface="等线" panose="02010600030101010101" pitchFamily="2" charset="-122"/>
              </a:rPr>
              <a:t>Einarbeitung</a:t>
            </a:r>
            <a:endParaRPr lang="en-US" altLang="zh-CN" sz="1400" dirty="0">
              <a:ea typeface="等线" panose="02010600030101010101" pitchFamily="2" charset="-122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ea typeface="等线" panose="02010600030101010101" pitchFamily="2" charset="-122"/>
              </a:rPr>
              <a:t>Literatur</a:t>
            </a:r>
            <a:r>
              <a:rPr lang="en-US" altLang="zh-CN" sz="1400" dirty="0">
                <a:ea typeface="等线" panose="02010600030101010101" pitchFamily="2" charset="-122"/>
              </a:rPr>
              <a:t> Recherche</a:t>
            </a:r>
            <a:endParaRPr lang="zh-CN" altLang="en-US" sz="1400" dirty="0"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50015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NclSas7YGyQqkJ7u._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WHS9KSYRk89dH7eX2Y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38yuMZ7jwYmLK9xWy7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0SpaooXNdaR2.j52sl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D4c2WzGPLskcc2cVrn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UByP9uBK7321C1zCi0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ukyAnswU.wCWahm_4x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hssQ4xoAMJayM7lsi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ZzPnG1mv9h6nPvWBb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0dEs4eF_5Rw9LDWqp1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t2uAkXr.5lxLzp1EV_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KqwdTXdo68yI.XGBMf8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JJwJXLPwa_tMf9mMqP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mXwDOmqAazqSkChRtS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cT7cDXb4dLBie_Dcg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D.HHERLMFbMV.wvAWE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JJXJHkOVdyjg0xIDQo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QjqSyeKS9xglnjYxzp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65.pAZj1e6iZLKfuxu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ZJZsdeGwClSeGyn2LU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S2GIzIeomXWAoqimyB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0tinwrwCmO6pQOMev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R2pTlr5srd9RCKh.k4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vYQ13QfIUp6ZnRrR546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fM0ltGbaAJ3KCcbU.Y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ohsXBOayULBcdheCI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FzpEidF.9bJfpHp8lI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AP8dbvkBXRTLP_MZrD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OGbbsCd2dR6xZezyh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C7PXOsX9BoRgYqnikD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Wg5_DO4sj7IWehG_IP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vwQj5WP77S5AaJCAf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Ozd8mjUkQYM5KhifG8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iW_nnvDL.yrAn7ySiC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druZGKUvEzq9eqF5nu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9ssuE4su9luECb8aa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wId37HZHO1Dau0T_Yx9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fa4Bs66fX4sOKFRJWl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8BLzfx7x0llGj.b8B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fCO6VGau0BXu_hqtU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e8xgamace_daiAkn6N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fhm0t51MYkY4pfkBIm_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CZJDrhOcsYjR523fdZ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.OcZZVvIy1MSSlcKc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Ck7DssHqjfkugOZWAYa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tTWT_QvPqrcTOaoz3U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TEsnJVeqd9vCtAIWf7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XS5a5020cPzVdnsyu5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7qBTh2v0we5x4Pu8Bs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bQnhQ7HMi8w9zE4vdY6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WDVLzbRi5JXtphP0zB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pL08uTzAZs6ms8IV8Z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R.prn7dV4JRD5zWhHX8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_boRSMxsDqSHOEzDM.2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4QGRIYzsLN4ztvZhVE8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peZPhsIQmBUhvgjsHm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TE8hJ8um9wmjeshGyv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p3zfZRswM2mmL3Ny8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IZJzVrHdxwC.S8TC3Co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Ksbra0vbw1wXnws5B4n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t2q_AIBiEmlmu3p9Qn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8yBy6cOuBQgQJRxAhR5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9aewHWCm_744sAGqU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38JNrxbUgv_8rZvwuL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XWb.PsphydMzc0vyoJm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7u.q1dCfUExGlMZ6SG4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Ne8s2sykJut..6EP3m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NXHAXH9zodLw2gmnL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qX22AhtRRE56hKTvpfz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atoUe4r.AI.trUgzqJ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kPiqhMVJ.ZhHE426Cq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J2WTiKsAxPjtmEovmL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8n7NEEOII3hoZuA8B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lNst7j5Ue.J77JW7r_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nNkvSYyrCJgylO6fSVM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H_bazTI4SXQ_sEc1TM9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5V989qMaH6b74kP9Rk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904YsLN4Ksmpuy4MM_0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Tw5i2IhQo4NLvxXPC9S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Bio6lvdHdJ0XhfeBm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3knpI3MHuqyVoC7rC1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Osuk4AuM3xQDDEkTjb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3p1nYxqfjbxTif7eT.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OI2wNqjlGBkbb3f1OC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wtazQeOEgQLGB9umQQ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axh_Ta.fqvG_hjE1LE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Y.SJpi_BZipKcoqf6m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Em3PvpIiFb4GgPdMERp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85</Words>
  <Application>Microsoft Office PowerPoint</Application>
  <PresentationFormat>宽屏</PresentationFormat>
  <Paragraphs>51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6" baseType="lpstr">
      <vt:lpstr>等线</vt:lpstr>
      <vt:lpstr>等线 Light</vt:lpstr>
      <vt:lpstr>Arial</vt:lpstr>
      <vt:lpstr>Office 主题​​</vt:lpstr>
      <vt:lpstr>think-cell 幻灯片</vt:lpstr>
      <vt:lpstr>Zeitplan Masterarbeit Chengxi L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cx li</dc:creator>
  <cp:lastModifiedBy>cx li</cp:lastModifiedBy>
  <cp:revision>3</cp:revision>
  <dcterms:created xsi:type="dcterms:W3CDTF">2022-10-18T14:29:50Z</dcterms:created>
  <dcterms:modified xsi:type="dcterms:W3CDTF">2022-10-19T19:10:54Z</dcterms:modified>
</cp:coreProperties>
</file>